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drijanam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2"/>
    <p:restoredTop sz="94663"/>
  </p:normalViewPr>
  <p:slideViewPr>
    <p:cSldViewPr snapToGrid="0" snapToObjects="1">
      <p:cViewPr varScale="1">
        <p:scale>
          <a:sx n="95" d="100"/>
          <a:sy n="95" d="100"/>
        </p:scale>
        <p:origin x="1524" y="90"/>
      </p:cViewPr>
      <p:guideLst>
        <p:guide orient="horz" pos="2381"/>
        <p:guide pos="336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31F59B-BF57-594F-855F-AFBBBB4241A8}" type="datetimeFigureOut">
              <a:rPr lang="de-DE" smtClean="0"/>
              <a:pPr/>
              <a:t>22.04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41425"/>
            <a:ext cx="47371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85E1BF-B232-A442-9C23-DC9223004844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2752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995507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Design">
  <a:themeElements>
    <a:clrScheme name="Office-Desig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Design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Design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lekom 16:9 2016 DE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72000" rIns="72000" bIns="72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DE_20161212" id="{F9703598-14F8-4EAE-9E72-4160AE82BC6B}" vid="{8DFCCBEC-E08F-41C4-9235-6ADDBC377A91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66AF65EFB8F274894B1F0424AF391FD" ma:contentTypeVersion="0" ma:contentTypeDescription="Ein neues Dokument erstellen." ma:contentTypeScope="" ma:versionID="bfff55faf30a1232a61e9c5694e46f4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6c4a6dd5ef775a5269b08f7de37f93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F8B27BE7-C0D1-437E-B24E-5B3FB7FC1D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686AD5C-6F3A-4382-93FC-EAFD4DFF53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7B6BF2-CF1A-4680-9725-FE04201F20A6}">
  <ds:schemaRefs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20</TotalTime>
  <Words>213</Words>
  <Application>Microsoft Office PowerPoint</Application>
  <PresentationFormat>Custom</PresentationFormat>
  <Paragraphs>6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0" baseType="lpstr">
      <vt:lpstr>Arial</vt:lpstr>
      <vt:lpstr>Calibri</vt:lpstr>
      <vt:lpstr>Calibri Light</vt:lpstr>
      <vt:lpstr>TeleGrotesk Headline</vt:lpstr>
      <vt:lpstr>TeleGrotesk Headline Ultra</vt:lpstr>
      <vt:lpstr>Tele-GroteskFet</vt:lpstr>
      <vt:lpstr>Tele-GroteskNor</vt:lpstr>
      <vt:lpstr>Tele-GroteskUlt</vt:lpstr>
      <vt:lpstr>Wingdings</vt:lpstr>
      <vt:lpstr>Wingdings 2</vt:lpstr>
      <vt:lpstr>Office-Design</vt:lpstr>
      <vt:lpstr>Telekom 16:9 2016 D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nadine@dada-design.de</dc:creator>
  <cp:lastModifiedBy>Andrijana Mitevska Kukoska</cp:lastModifiedBy>
  <cp:revision>181</cp:revision>
  <cp:lastPrinted>2018-11-27T07:17:04Z</cp:lastPrinted>
  <dcterms:created xsi:type="dcterms:W3CDTF">2017-09-13T14:07:29Z</dcterms:created>
  <dcterms:modified xsi:type="dcterms:W3CDTF">2021-04-22T08:0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6AF65EFB8F274894B1F0424AF391FD</vt:lpwstr>
  </property>
</Properties>
</file>